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9" r:id="rId2"/>
    <p:sldId id="269" r:id="rId3"/>
    <p:sldId id="278" r:id="rId4"/>
    <p:sldId id="260" r:id="rId5"/>
    <p:sldId id="271" r:id="rId6"/>
    <p:sldId id="279" r:id="rId7"/>
    <p:sldId id="261" r:id="rId8"/>
    <p:sldId id="270" r:id="rId9"/>
    <p:sldId id="280" r:id="rId10"/>
    <p:sldId id="262" r:id="rId11"/>
    <p:sldId id="272" r:id="rId12"/>
    <p:sldId id="281" r:id="rId13"/>
    <p:sldId id="277" r:id="rId14"/>
  </p:sldIdLst>
  <p:sldSz cx="9906000" cy="6858000" type="A4"/>
  <p:notesSz cx="6797675" cy="9926638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A800"/>
    <a:srgbClr val="CC071E"/>
    <a:srgbClr val="CFD1D2"/>
    <a:srgbClr val="9C9E9F"/>
    <a:srgbClr val="646567"/>
    <a:srgbClr val="000000"/>
    <a:srgbClr val="C7DDF2"/>
    <a:srgbClr val="8EBAE5"/>
    <a:srgbClr val="407FB7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5486" autoAdjust="0"/>
  </p:normalViewPr>
  <p:slideViewPr>
    <p:cSldViewPr>
      <p:cViewPr varScale="1">
        <p:scale>
          <a:sx n="86" d="100"/>
          <a:sy n="86" d="100"/>
        </p:scale>
        <p:origin x="-102" y="-264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C69B06-EB19-4199-BB7D-35FC05A70CAA}" type="datetimeFigureOut">
              <a:rPr lang="de-DE" smtClean="0"/>
              <a:t>08.07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822F3-89C5-4639-8535-CBC3C272C05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4313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822F3-89C5-4639-8535-CBC3C272C05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78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9484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91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108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022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57005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emf"/><Relationship Id="rId12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5.xml"/><Relationship Id="rId12" Type="http://schemas.openxmlformats.org/officeDocument/2006/relationships/image" Target="../media/image26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4.emf"/><Relationship Id="rId11" Type="http://schemas.openxmlformats.org/officeDocument/2006/relationships/image" Target="../media/image32.png"/><Relationship Id="rId5" Type="http://schemas.openxmlformats.org/officeDocument/2006/relationships/image" Target="../media/image1.emf"/><Relationship Id="rId10" Type="http://schemas.openxmlformats.org/officeDocument/2006/relationships/image" Target="../media/image25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8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8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5.xml"/><Relationship Id="rId12" Type="http://schemas.openxmlformats.org/officeDocument/2006/relationships/image" Target="../media/image13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12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5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5.xml"/><Relationship Id="rId12" Type="http://schemas.openxmlformats.org/officeDocument/2006/relationships/image" Target="../media/image20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emf"/><Relationship Id="rId11" Type="http://schemas.openxmlformats.org/officeDocument/2006/relationships/image" Target="../media/image25.png"/><Relationship Id="rId5" Type="http://schemas.openxmlformats.org/officeDocument/2006/relationships/image" Target="../media/image1.emf"/><Relationship Id="rId10" Type="http://schemas.openxmlformats.org/officeDocument/2006/relationships/image" Target="../media/image19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84413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/>
        </p:nvGrpSpPr>
        <p:grpSpPr>
          <a:xfrm>
            <a:off x="4381053" y="1238225"/>
            <a:ext cx="5324475" cy="3990975"/>
            <a:chOff x="4953000" y="1052735"/>
            <a:chExt cx="5324475" cy="3990975"/>
          </a:xfrm>
        </p:grpSpPr>
        <p:pic>
          <p:nvPicPr>
            <p:cNvPr id="30" name="Picture 59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3000" y="1052735"/>
              <a:ext cx="5324475" cy="39909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</p:pic>
        <p:sp>
          <p:nvSpPr>
            <p:cNvPr id="31" name="Rechteck 11"/>
            <p:cNvSpPr/>
            <p:nvPr/>
          </p:nvSpPr>
          <p:spPr bwMode="auto">
            <a:xfrm>
              <a:off x="4953000" y="1052735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</a:t>
            </a:r>
            <a:r>
              <a:rPr lang="en-US" dirty="0" smtClean="0"/>
              <a:t>VP41 </a:t>
            </a:r>
            <a:r>
              <a:rPr lang="en-US" dirty="0"/>
              <a:t>(</a:t>
            </a:r>
            <a:r>
              <a:rPr lang="en-US" dirty="0" err="1"/>
              <a:t>lc</a:t>
            </a:r>
            <a:r>
              <a:rPr lang="en-US" dirty="0"/>
              <a:t> = </a:t>
            </a:r>
            <a:r>
              <a:rPr lang="en-US" dirty="0" smtClean="0"/>
              <a:t>1.5 </a:t>
            </a:r>
            <a:r>
              <a:rPr lang="en-US" dirty="0"/>
              <a:t>mm/</a:t>
            </a:r>
            <a:r>
              <a:rPr lang="en-US" dirty="0" err="1"/>
              <a:t>hsp</a:t>
            </a:r>
            <a:r>
              <a:rPr lang="en-US" dirty="0"/>
              <a:t> = </a:t>
            </a:r>
            <a:r>
              <a:rPr lang="en-US" dirty="0" smtClean="0"/>
              <a:t>200µm/</a:t>
            </a:r>
            <a:r>
              <a:rPr lang="en-US" dirty="0" err="1" smtClean="0"/>
              <a:t>vc</a:t>
            </a:r>
            <a:r>
              <a:rPr lang="en-US" dirty="0" smtClean="0"/>
              <a:t> </a:t>
            </a:r>
            <a:r>
              <a:rPr lang="en-US" dirty="0"/>
              <a:t>= </a:t>
            </a:r>
            <a:r>
              <a:rPr lang="en-US" dirty="0" smtClean="0"/>
              <a:t>100m/min)</a:t>
            </a:r>
            <a:br>
              <a:rPr lang="en-US" dirty="0" smtClean="0"/>
            </a:br>
            <a:r>
              <a:rPr lang="en-US" dirty="0" smtClean="0"/>
              <a:t>Position 200 mm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/>
              <p:cNvSpPr txBox="1"/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 smtClean="0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b="0" i="1" smtClean="0">
                              <a:latin typeface="Cambria Math"/>
                            </a:rPr>
                            <m:t>𝑚𝑒𝑎𝑠𝑢𝑟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95,47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9" name="Textfeld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feld 1"/>
          <p:cNvSpPr txBox="1"/>
          <p:nvPr/>
        </p:nvSpPr>
        <p:spPr>
          <a:xfrm>
            <a:off x="6285148" y="5569495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|Error| = 1.37%</a:t>
            </a:r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/>
              <p:cNvSpPr txBox="1"/>
              <p:nvPr/>
            </p:nvSpPr>
            <p:spPr>
              <a:xfrm>
                <a:off x="6249144" y="4869160"/>
                <a:ext cx="2304256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 smtClean="0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b="0" i="1" smtClean="0">
                              <a:latin typeface="Cambria Math"/>
                            </a:rPr>
                            <m:t>𝑠𝑖𝑚𝑢𝑙𝑎𝑡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98,15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49144" y="4869160"/>
                <a:ext cx="2304256" cy="315984"/>
              </a:xfrm>
              <a:prstGeom prst="rect">
                <a:avLst/>
              </a:prstGeom>
              <a:blipFill rotWithShape="1">
                <a:blip r:embed="rId10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" name="Gerade Verbindung 15"/>
          <p:cNvCxnSpPr/>
          <p:nvPr/>
        </p:nvCxnSpPr>
        <p:spPr bwMode="auto">
          <a:xfrm>
            <a:off x="8337376" y="502715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6" name="Gerade Verbindung 5"/>
          <p:cNvCxnSpPr/>
          <p:nvPr/>
        </p:nvCxnSpPr>
        <p:spPr bwMode="auto">
          <a:xfrm>
            <a:off x="8337376" y="538719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4193" name="Picture 9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12" y="1289152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/>
              <p:cNvSpPr txBox="1"/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/>
                  <a:t>Exponential function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</m:t>
                      </m:r>
                      <m:d>
                        <m:d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i="1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ctrlP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𝑥</m:t>
                                      </m:r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−0.4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2∙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0.25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sup>
                      </m:sSup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+0.2∙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𝑞𝑚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b="0" i="1" smtClean="0">
                          <a:latin typeface="Cambria Math"/>
                        </a:rPr>
                        <m:t>=50 </m:t>
                      </m:r>
                      <m:r>
                        <a:rPr lang="en-US" sz="1400" b="0" i="1" smtClean="0">
                          <a:latin typeface="Cambria Math"/>
                        </a:rPr>
                        <m:t>𝑀𝑊</m:t>
                      </m:r>
                      <m:r>
                        <a:rPr lang="en-US" sz="1400" b="0" i="1" smtClean="0">
                          <a:latin typeface="Cambria Math"/>
                        </a:rPr>
                        <m:t>/</m:t>
                      </m:r>
                      <m:r>
                        <a:rPr lang="en-US" sz="1400" b="0" i="1" smtClean="0">
                          <a:latin typeface="Cambria Math"/>
                        </a:rPr>
                        <m:t>𝑚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𝑚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𝜇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4</m:t>
                      </m:r>
                    </m:oMath>
                  </m:oMathPara>
                </a14:m>
                <a:endParaRPr lang="en-US" sz="1400" b="0" dirty="0" smtClean="0">
                  <a:ea typeface="Cambria Math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𝜎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25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𝐿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=1.5 </m:t>
                      </m:r>
                      <m:r>
                        <a:rPr lang="en-US" sz="1400" b="0" i="1" smtClean="0">
                          <a:latin typeface="Cambria Math"/>
                        </a:rPr>
                        <m:t>𝑚𝑚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9" name="Textfeld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blipFill rotWithShape="1">
                <a:blip r:embed="rId12"/>
                <a:stretch>
                  <a:fillRect t="-3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feld 21"/>
          <p:cNvSpPr txBox="1"/>
          <p:nvPr/>
        </p:nvSpPr>
        <p:spPr>
          <a:xfrm>
            <a:off x="776536" y="908720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Heat source distribution</a:t>
            </a:r>
            <a:endParaRPr lang="en-US" sz="1600" dirty="0"/>
          </a:p>
        </p:txBody>
      </p:sp>
      <p:sp>
        <p:nvSpPr>
          <p:cNvPr id="23" name="Textfeld 22"/>
          <p:cNvSpPr txBox="1"/>
          <p:nvPr/>
        </p:nvSpPr>
        <p:spPr>
          <a:xfrm>
            <a:off x="4304928" y="908720"/>
            <a:ext cx="5601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Temperature distribution [°C] – Regression and simulation</a:t>
            </a:r>
            <a:endParaRPr lang="en-US" sz="1600" dirty="0"/>
          </a:p>
        </p:txBody>
      </p:sp>
      <p:pic>
        <p:nvPicPr>
          <p:cNvPr id="4201" name="Picture 105"/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053" y="1247274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76771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95620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Gruppieren 25"/>
          <p:cNvGrpSpPr/>
          <p:nvPr/>
        </p:nvGrpSpPr>
        <p:grpSpPr>
          <a:xfrm>
            <a:off x="4381053" y="1238225"/>
            <a:ext cx="5324475" cy="3990975"/>
            <a:chOff x="-1383704" y="1268760"/>
            <a:chExt cx="5324475" cy="3990975"/>
          </a:xfrm>
        </p:grpSpPr>
        <p:pic>
          <p:nvPicPr>
            <p:cNvPr id="27" name="Picture 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83704" y="1268760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Rechteck 11"/>
            <p:cNvSpPr/>
            <p:nvPr/>
          </p:nvSpPr>
          <p:spPr bwMode="auto">
            <a:xfrm>
              <a:off x="-1383704" y="1268760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</a:t>
            </a:r>
            <a:r>
              <a:rPr lang="en-US" dirty="0" smtClean="0"/>
              <a:t>VP46 </a:t>
            </a:r>
            <a:r>
              <a:rPr lang="en-US" dirty="0"/>
              <a:t>(</a:t>
            </a:r>
            <a:r>
              <a:rPr lang="en-US" dirty="0" err="1"/>
              <a:t>lc</a:t>
            </a:r>
            <a:r>
              <a:rPr lang="en-US" dirty="0"/>
              <a:t> = </a:t>
            </a:r>
            <a:r>
              <a:rPr lang="en-US" dirty="0" smtClean="0"/>
              <a:t>2 </a:t>
            </a:r>
            <a:r>
              <a:rPr lang="en-US" dirty="0"/>
              <a:t>mm/</a:t>
            </a:r>
            <a:r>
              <a:rPr lang="en-US" dirty="0" err="1"/>
              <a:t>hsp</a:t>
            </a:r>
            <a:r>
              <a:rPr lang="en-US" dirty="0"/>
              <a:t> = 300µm/</a:t>
            </a:r>
            <a:r>
              <a:rPr lang="en-US" dirty="0" err="1"/>
              <a:t>vc</a:t>
            </a:r>
            <a:r>
              <a:rPr lang="en-US" dirty="0"/>
              <a:t> = </a:t>
            </a:r>
            <a:r>
              <a:rPr lang="en-US" dirty="0" smtClean="0"/>
              <a:t>150m/min</a:t>
            </a:r>
            <a:r>
              <a:rPr lang="en-US" dirty="0"/>
              <a:t>)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/>
              <p:cNvSpPr txBox="1"/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𝑚𝑒𝑎𝑠𝑢𝑟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293,61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7" name="Textfeld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blipFill rotWithShape="1">
                <a:blip r:embed="rId8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feld 9"/>
          <p:cNvSpPr txBox="1"/>
          <p:nvPr/>
        </p:nvSpPr>
        <p:spPr>
          <a:xfrm>
            <a:off x="6285148" y="5588219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|Error| = 6.35%</a:t>
            </a:r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/>
              <p:cNvSpPr txBox="1"/>
              <p:nvPr/>
            </p:nvSpPr>
            <p:spPr>
              <a:xfrm>
                <a:off x="6177136" y="4869160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𝑠𝑖𝑚𝑢𝑙𝑎𝑡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274,95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16" name="Textfeld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4869160"/>
                <a:ext cx="2448272" cy="315984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Gerade Verbindung 16"/>
          <p:cNvCxnSpPr/>
          <p:nvPr/>
        </p:nvCxnSpPr>
        <p:spPr bwMode="auto">
          <a:xfrm>
            <a:off x="8337376" y="502715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8" name="Gerade Verbindung 17"/>
          <p:cNvCxnSpPr/>
          <p:nvPr/>
        </p:nvCxnSpPr>
        <p:spPr bwMode="auto">
          <a:xfrm>
            <a:off x="8337376" y="538719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12310" name="Picture 2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56" y="1238225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/>
              <p:cNvSpPr txBox="1"/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/>
                  <a:t>Exponential function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</m:t>
                      </m:r>
                      <m:d>
                        <m:d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i="1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ctrlP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𝑥</m:t>
                                      </m:r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−0.5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2∙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0.</m:t>
                                      </m:r>
                                      <m:r>
                                        <a:rPr lang="de-DE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35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sup>
                      </m:sSup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+0.</m:t>
                      </m:r>
                      <m:r>
                        <a:rPr lang="de-DE" sz="1400" b="0" i="1" smtClean="0">
                          <a:latin typeface="Cambria Math"/>
                          <a:ea typeface="Cambria Math"/>
                        </a:rPr>
                        <m:t>1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𝑞𝑚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b="0" i="1" smtClean="0">
                          <a:latin typeface="Cambria Math"/>
                        </a:rPr>
                        <m:t>=55 </m:t>
                      </m:r>
                      <m:r>
                        <a:rPr lang="en-US" sz="1400" b="0" i="1" smtClean="0">
                          <a:latin typeface="Cambria Math"/>
                        </a:rPr>
                        <m:t>𝑀𝑊</m:t>
                      </m:r>
                      <m:r>
                        <a:rPr lang="en-US" sz="1400" b="0" i="1" smtClean="0">
                          <a:latin typeface="Cambria Math"/>
                        </a:rPr>
                        <m:t>/</m:t>
                      </m:r>
                      <m:r>
                        <a:rPr lang="en-US" sz="1400" b="0" i="1" smtClean="0">
                          <a:latin typeface="Cambria Math"/>
                        </a:rPr>
                        <m:t>𝑚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𝑚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𝜇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</m:t>
                      </m:r>
                      <m:r>
                        <a:rPr lang="de-DE" sz="1400" b="0" i="1" smtClean="0">
                          <a:latin typeface="Cambria Math"/>
                          <a:ea typeface="Cambria Math"/>
                        </a:rPr>
                        <m:t>5</m:t>
                      </m:r>
                    </m:oMath>
                  </m:oMathPara>
                </a14:m>
                <a:endParaRPr lang="de-DE" sz="1400" b="0" i="1" dirty="0" smtClean="0">
                  <a:latin typeface="Cambria Math"/>
                  <a:ea typeface="Cambria Math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𝜎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</m:t>
                      </m:r>
                      <m:r>
                        <a:rPr lang="de-DE" sz="1400" b="0" i="1" smtClean="0">
                          <a:latin typeface="Cambria Math"/>
                          <a:ea typeface="Cambria Math"/>
                        </a:rPr>
                        <m:t>35</m:t>
                      </m:r>
                    </m:oMath>
                  </m:oMathPara>
                </a14:m>
                <a:endParaRPr lang="de-DE" sz="1400" b="0" i="1" dirty="0" smtClean="0">
                  <a:latin typeface="Cambria Math"/>
                  <a:ea typeface="Cambria Math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/>
                            </a:rPr>
                            <m:t>𝐿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2 </m:t>
                      </m:r>
                      <m:r>
                        <a:rPr lang="de-DE" sz="1400" b="0" i="1" smtClean="0">
                          <a:latin typeface="Cambria Math"/>
                        </a:rPr>
                        <m:t>𝑚𝑚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20" name="Textfeld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blipFill rotWithShape="1">
                <a:blip r:embed="rId11"/>
                <a:stretch>
                  <a:fillRect t="-3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feld 4"/>
          <p:cNvSpPr txBox="1"/>
          <p:nvPr/>
        </p:nvSpPr>
        <p:spPr>
          <a:xfrm>
            <a:off x="776536" y="908720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Heat source </a:t>
            </a:r>
            <a:r>
              <a:rPr lang="en-US" sz="1600" dirty="0"/>
              <a:t>distribution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4543072" y="908720"/>
            <a:ext cx="500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Temperature distribution – Regression and simulation</a:t>
            </a:r>
            <a:endParaRPr lang="en-US" sz="1600" dirty="0"/>
          </a:p>
        </p:txBody>
      </p:sp>
      <p:pic>
        <p:nvPicPr>
          <p:cNvPr id="12318" name="Picture 30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053" y="1247274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3897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7261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/>
          <p:nvPr/>
        </p:nvGrpSpPr>
        <p:grpSpPr>
          <a:xfrm>
            <a:off x="4381053" y="1238225"/>
            <a:ext cx="5324475" cy="3990975"/>
            <a:chOff x="4556743" y="1394685"/>
            <a:chExt cx="5324475" cy="3990975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6743" y="1394685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Rechteck 11"/>
            <p:cNvSpPr/>
            <p:nvPr/>
          </p:nvSpPr>
          <p:spPr bwMode="auto">
            <a:xfrm>
              <a:off x="4556743" y="1394685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sition 124 mm - </a:t>
            </a:r>
            <a:r>
              <a:rPr lang="en-US" dirty="0"/>
              <a:t>VP46</a:t>
            </a:r>
            <a:endParaRPr lang="de-DE" dirty="0"/>
          </a:p>
        </p:txBody>
      </p:sp>
      <p:pic>
        <p:nvPicPr>
          <p:cNvPr id="13338" name="Picture 26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053" y="1238225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623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ginal isothermal lines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274538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124 mm position</a:t>
            </a:r>
            <a:endParaRPr lang="en-US" sz="1600" dirty="0"/>
          </a:p>
        </p:txBody>
      </p:sp>
      <p:sp>
        <p:nvSpPr>
          <p:cNvPr id="4" name="Textfeld 3"/>
          <p:cNvSpPr txBox="1"/>
          <p:nvPr/>
        </p:nvSpPr>
        <p:spPr>
          <a:xfrm>
            <a:off x="5022949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200 mm position</a:t>
            </a:r>
            <a:endParaRPr lang="en-US" sz="16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1475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936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81596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ison among heat sources along the rake face</a:t>
            </a:r>
            <a:endParaRPr lang="en-US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4" y="1196752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201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4786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uppieren 12"/>
          <p:cNvGrpSpPr/>
          <p:nvPr/>
        </p:nvGrpSpPr>
        <p:grpSpPr>
          <a:xfrm>
            <a:off x="4381053" y="1238225"/>
            <a:ext cx="5324475" cy="3990975"/>
            <a:chOff x="-2965822" y="1772816"/>
            <a:chExt cx="5324475" cy="3990975"/>
          </a:xfrm>
        </p:grpSpPr>
        <p:pic>
          <p:nvPicPr>
            <p:cNvPr id="14" name="Picture 61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965822" y="1772816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Rechteck 11"/>
            <p:cNvSpPr/>
            <p:nvPr/>
          </p:nvSpPr>
          <p:spPr bwMode="auto">
            <a:xfrm>
              <a:off x="-2965822" y="1772816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sition 124 mm - </a:t>
            </a:r>
            <a:r>
              <a:rPr lang="en-US" dirty="0"/>
              <a:t>VP41</a:t>
            </a:r>
            <a:endParaRPr lang="de-DE" dirty="0"/>
          </a:p>
        </p:txBody>
      </p:sp>
      <p:pic>
        <p:nvPicPr>
          <p:cNvPr id="6196" name="Picture 52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052" y="1238224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4693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iginal isothermal lines</a:t>
            </a:r>
            <a:endParaRPr lang="en-US" dirty="0"/>
          </a:p>
        </p:txBody>
      </p:sp>
      <p:pic>
        <p:nvPicPr>
          <p:cNvPr id="1536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1475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274538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124 mm position</a:t>
            </a:r>
            <a:endParaRPr lang="en-US" sz="1600" dirty="0"/>
          </a:p>
        </p:txBody>
      </p:sp>
      <p:sp>
        <p:nvSpPr>
          <p:cNvPr id="6" name="Textfeld 5"/>
          <p:cNvSpPr txBox="1"/>
          <p:nvPr/>
        </p:nvSpPr>
        <p:spPr>
          <a:xfrm>
            <a:off x="5022949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200 mm position</a:t>
            </a:r>
            <a:endParaRPr lang="en-US" sz="1600" dirty="0"/>
          </a:p>
        </p:txBody>
      </p:sp>
      <p:pic>
        <p:nvPicPr>
          <p:cNvPr id="15366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936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65731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17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/>
        </p:nvGrpSpPr>
        <p:grpSpPr>
          <a:xfrm>
            <a:off x="4381053" y="1238225"/>
            <a:ext cx="5324475" cy="3990975"/>
            <a:chOff x="-163685" y="1340768"/>
            <a:chExt cx="5324475" cy="3990975"/>
          </a:xfrm>
        </p:grpSpPr>
        <p:pic>
          <p:nvPicPr>
            <p:cNvPr id="30" name="Picture 18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3685" y="1340768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1" name="Rechteck 11"/>
            <p:cNvSpPr/>
            <p:nvPr/>
          </p:nvSpPr>
          <p:spPr bwMode="auto">
            <a:xfrm>
              <a:off x="-163685" y="1340768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</a:t>
            </a:r>
            <a:r>
              <a:rPr lang="en-US" dirty="0" smtClean="0"/>
              <a:t>VP45 </a:t>
            </a:r>
            <a:r>
              <a:rPr lang="en-US" dirty="0"/>
              <a:t>(</a:t>
            </a:r>
            <a:r>
              <a:rPr lang="en-US" dirty="0" err="1"/>
              <a:t>lc</a:t>
            </a:r>
            <a:r>
              <a:rPr lang="en-US" dirty="0"/>
              <a:t> = </a:t>
            </a:r>
            <a:r>
              <a:rPr lang="en-US" dirty="0" smtClean="0"/>
              <a:t>1.7 </a:t>
            </a:r>
            <a:r>
              <a:rPr lang="en-US" dirty="0"/>
              <a:t>mm/</a:t>
            </a:r>
            <a:r>
              <a:rPr lang="en-US" dirty="0" err="1"/>
              <a:t>hsp</a:t>
            </a:r>
            <a:r>
              <a:rPr lang="en-US" dirty="0"/>
              <a:t> = 200µm/</a:t>
            </a:r>
            <a:r>
              <a:rPr lang="en-US" dirty="0" err="1"/>
              <a:t>vc</a:t>
            </a:r>
            <a:r>
              <a:rPr lang="en-US" dirty="0"/>
              <a:t> = </a:t>
            </a:r>
            <a:r>
              <a:rPr lang="en-US" dirty="0" smtClean="0"/>
              <a:t>150m/min)</a:t>
            </a:r>
            <a:br>
              <a:rPr lang="en-US" dirty="0" smtClean="0"/>
            </a:br>
            <a:r>
              <a:rPr lang="en-US" dirty="0" smtClean="0"/>
              <a:t>Position 200 mm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/>
              <p:cNvSpPr txBox="1"/>
              <p:nvPr/>
            </p:nvSpPr>
            <p:spPr>
              <a:xfrm>
                <a:off x="6177136" y="5204575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𝑚𝑒𝑎𝑠𝑢𝑟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205,38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6" name="Textfeld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5204575"/>
                <a:ext cx="2448272" cy="315984"/>
              </a:xfrm>
              <a:prstGeom prst="rect">
                <a:avLst/>
              </a:prstGeom>
              <a:blipFill rotWithShape="1">
                <a:blip r:embed="rId8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/>
              <p:cNvSpPr txBox="1"/>
              <p:nvPr/>
            </p:nvSpPr>
            <p:spPr>
              <a:xfrm>
                <a:off x="6249144" y="4869160"/>
                <a:ext cx="2304256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𝑠𝑖𝑚𝑢𝑙𝑎𝑡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205,16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9" name="Textfeld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49144" y="4869160"/>
                <a:ext cx="2304256" cy="315984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feld 12"/>
          <p:cNvSpPr txBox="1"/>
          <p:nvPr/>
        </p:nvSpPr>
        <p:spPr>
          <a:xfrm>
            <a:off x="6285148" y="5520559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|Error| = 0.11%</a:t>
            </a:r>
            <a:endParaRPr lang="de-DE" sz="1400" dirty="0"/>
          </a:p>
        </p:txBody>
      </p:sp>
      <p:cxnSp>
        <p:nvCxnSpPr>
          <p:cNvPr id="14" name="Gerade Verbindung 13"/>
          <p:cNvCxnSpPr/>
          <p:nvPr/>
        </p:nvCxnSpPr>
        <p:spPr bwMode="auto">
          <a:xfrm>
            <a:off x="8337376" y="502715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5" name="Gerade Verbindung 14"/>
          <p:cNvCxnSpPr/>
          <p:nvPr/>
        </p:nvCxnSpPr>
        <p:spPr bwMode="auto">
          <a:xfrm>
            <a:off x="8337376" y="538719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7209" name="Picture 4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56" y="1238225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/>
              <p:cNvSpPr txBox="1"/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/>
                  <a:t>Exponential function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</m:t>
                      </m:r>
                      <m:d>
                        <m:d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i="1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ctrlP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𝑥</m:t>
                                      </m:r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−0.4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2∙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0.25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sup>
                      </m:sSup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+0.2∙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𝑞𝑚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b="0" i="1" smtClean="0">
                          <a:latin typeface="Cambria Math"/>
                        </a:rPr>
                        <m:t>=50 </m:t>
                      </m:r>
                      <m:r>
                        <a:rPr lang="en-US" sz="1400" b="0" i="1" smtClean="0">
                          <a:latin typeface="Cambria Math"/>
                        </a:rPr>
                        <m:t>𝑀𝑊</m:t>
                      </m:r>
                      <m:r>
                        <a:rPr lang="en-US" sz="1400" b="0" i="1" smtClean="0">
                          <a:latin typeface="Cambria Math"/>
                        </a:rPr>
                        <m:t>/</m:t>
                      </m:r>
                      <m:r>
                        <a:rPr lang="en-US" sz="1400" b="0" i="1" smtClean="0">
                          <a:latin typeface="Cambria Math"/>
                        </a:rPr>
                        <m:t>𝑚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𝑚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𝜇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4</m:t>
                      </m:r>
                    </m:oMath>
                  </m:oMathPara>
                </a14:m>
                <a:endParaRPr lang="en-US" sz="1400" b="0" dirty="0" smtClean="0">
                  <a:ea typeface="Cambria Math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𝜎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25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/>
                            </a:rPr>
                            <m:t>𝐿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.7 </m:t>
                      </m:r>
                      <m:r>
                        <a:rPr lang="de-DE" sz="1400" b="0" i="1" smtClean="0">
                          <a:latin typeface="Cambria Math"/>
                        </a:rPr>
                        <m:t>𝑚𝑚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8" name="Textfeld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blipFill rotWithShape="1">
                <a:blip r:embed="rId11"/>
                <a:stretch>
                  <a:fillRect t="-3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feld 26"/>
          <p:cNvSpPr txBox="1"/>
          <p:nvPr/>
        </p:nvSpPr>
        <p:spPr>
          <a:xfrm>
            <a:off x="776536" y="908720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Heat source </a:t>
            </a:r>
            <a:r>
              <a:rPr lang="en-US" sz="1600" dirty="0"/>
              <a:t>distribution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4543072" y="908720"/>
            <a:ext cx="500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Temperature distribution – Regression and simulation</a:t>
            </a:r>
            <a:endParaRPr lang="en-US" sz="1600" dirty="0"/>
          </a:p>
        </p:txBody>
      </p:sp>
      <p:pic>
        <p:nvPicPr>
          <p:cNvPr id="7215" name="Picture 47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052" y="1238224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5094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646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uppieren 15"/>
          <p:cNvGrpSpPr/>
          <p:nvPr/>
        </p:nvGrpSpPr>
        <p:grpSpPr>
          <a:xfrm>
            <a:off x="4381053" y="1238225"/>
            <a:ext cx="5324475" cy="3990975"/>
            <a:chOff x="4546985" y="1318526"/>
            <a:chExt cx="5324475" cy="3990975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85" y="1318526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Rechteck 11"/>
            <p:cNvSpPr/>
            <p:nvPr/>
          </p:nvSpPr>
          <p:spPr bwMode="auto">
            <a:xfrm>
              <a:off x="4546985" y="1318526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sition 124 mm - </a:t>
            </a:r>
            <a:r>
              <a:rPr lang="en-US" dirty="0"/>
              <a:t>VP45</a:t>
            </a:r>
            <a:endParaRPr lang="de-DE" dirty="0"/>
          </a:p>
        </p:txBody>
      </p:sp>
      <p:pic>
        <p:nvPicPr>
          <p:cNvPr id="9243" name="Picture 27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053" y="1238223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49489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ginal isothermal lines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274538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124 mm position</a:t>
            </a:r>
            <a:endParaRPr lang="en-US" sz="1600" dirty="0"/>
          </a:p>
        </p:txBody>
      </p:sp>
      <p:sp>
        <p:nvSpPr>
          <p:cNvPr id="4" name="Textfeld 3"/>
          <p:cNvSpPr txBox="1"/>
          <p:nvPr/>
        </p:nvSpPr>
        <p:spPr>
          <a:xfrm>
            <a:off x="5022949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200 mm position</a:t>
            </a:r>
            <a:endParaRPr lang="en-US" sz="1600" dirty="0"/>
          </a:p>
        </p:txBody>
      </p: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1475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936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22426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3336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/>
        </p:nvGrpSpPr>
        <p:grpSpPr>
          <a:xfrm>
            <a:off x="4381053" y="1238225"/>
            <a:ext cx="5324475" cy="3990975"/>
            <a:chOff x="-178308" y="1372762"/>
            <a:chExt cx="5324475" cy="3990975"/>
          </a:xfrm>
        </p:grpSpPr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78308" y="1372762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1" name="Rechteck 11"/>
            <p:cNvSpPr/>
            <p:nvPr/>
          </p:nvSpPr>
          <p:spPr bwMode="auto">
            <a:xfrm>
              <a:off x="-178308" y="1372762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4159678" y="461447"/>
                  </a:lnTo>
                  <a:lnTo>
                    <a:pt x="694411" y="719699"/>
                  </a:lnTo>
                  <a:lnTo>
                    <a:pt x="688801" y="3569486"/>
                  </a:lnTo>
                  <a:lnTo>
                    <a:pt x="3291756" y="3569486"/>
                  </a:lnTo>
                  <a:lnTo>
                    <a:pt x="4699820" y="2402644"/>
                  </a:lnTo>
                  <a:lnTo>
                    <a:pt x="4746886" y="1706463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feld 2"/>
              <p:cNvSpPr txBox="1"/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𝑚𝑒𝑎𝑠𝑢𝑟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80,7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Textfeld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5229200"/>
                <a:ext cx="2448272" cy="315984"/>
              </a:xfrm>
              <a:prstGeom prst="rect">
                <a:avLst/>
              </a:prstGeom>
              <a:blipFill rotWithShape="1">
                <a:blip r:embed="rId8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</a:t>
            </a:r>
            <a:r>
              <a:rPr lang="en-US" dirty="0" smtClean="0"/>
              <a:t>VP42 </a:t>
            </a:r>
            <a:r>
              <a:rPr lang="en-US" dirty="0"/>
              <a:t>(</a:t>
            </a:r>
            <a:r>
              <a:rPr lang="en-US" dirty="0" err="1"/>
              <a:t>lc</a:t>
            </a:r>
            <a:r>
              <a:rPr lang="en-US" dirty="0"/>
              <a:t> = </a:t>
            </a:r>
            <a:r>
              <a:rPr lang="en-US" dirty="0" smtClean="0"/>
              <a:t>1.8 </a:t>
            </a:r>
            <a:r>
              <a:rPr lang="en-US" dirty="0"/>
              <a:t>mm/</a:t>
            </a:r>
            <a:r>
              <a:rPr lang="en-US" dirty="0" err="1"/>
              <a:t>hsp</a:t>
            </a:r>
            <a:r>
              <a:rPr lang="en-US" dirty="0"/>
              <a:t> = </a:t>
            </a:r>
            <a:r>
              <a:rPr lang="en-US" dirty="0" smtClean="0"/>
              <a:t>300µm/</a:t>
            </a:r>
            <a:r>
              <a:rPr lang="en-US" dirty="0" err="1" smtClean="0"/>
              <a:t>vc</a:t>
            </a:r>
            <a:r>
              <a:rPr lang="en-US" dirty="0" smtClean="0"/>
              <a:t> </a:t>
            </a:r>
            <a:r>
              <a:rPr lang="en-US" dirty="0"/>
              <a:t>= </a:t>
            </a:r>
            <a:r>
              <a:rPr lang="en-US" dirty="0" smtClean="0"/>
              <a:t>100m/min)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6285148" y="5545184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|Error| = 2.53%</a:t>
            </a:r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/>
              <p:cNvSpPr txBox="1"/>
              <p:nvPr/>
            </p:nvSpPr>
            <p:spPr>
              <a:xfrm>
                <a:off x="6177136" y="4869160"/>
                <a:ext cx="2448272" cy="3159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accPr>
                            <m:e>
                              <m:r>
                                <a:rPr lang="de-DE" sz="1400" i="1">
                                  <a:latin typeface="Cambria Math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>
                              <a:latin typeface="Cambria Math"/>
                            </a:rPr>
                            <m:t>𝑠𝑖𝑚𝑢𝑙𝑎𝑡𝑒𝑑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85,27 </m:t>
                      </m:r>
                      <m:r>
                        <a:rPr lang="de-DE" sz="1400" b="0" i="1" smtClean="0">
                          <a:latin typeface="Cambria Math"/>
                        </a:rPr>
                        <m:t>𝑊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12" name="Textfeld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7136" y="4869160"/>
                <a:ext cx="2448272" cy="315984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" name="Gerade Verbindung 15"/>
          <p:cNvCxnSpPr/>
          <p:nvPr/>
        </p:nvCxnSpPr>
        <p:spPr bwMode="auto">
          <a:xfrm>
            <a:off x="8337376" y="502715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7" name="Gerade Verbindung 16"/>
          <p:cNvCxnSpPr/>
          <p:nvPr/>
        </p:nvCxnSpPr>
        <p:spPr bwMode="auto">
          <a:xfrm>
            <a:off x="8337376" y="5387192"/>
            <a:ext cx="360040" cy="0"/>
          </a:xfrm>
          <a:prstGeom prst="line">
            <a:avLst/>
          </a:prstGeom>
          <a:solidFill>
            <a:srgbClr val="DDDDDD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10265" name="Picture 2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56" y="1238225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/>
              <p:cNvSpPr txBox="1"/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/>
                  <a:t>Exponential function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</m:t>
                      </m:r>
                      <m:d>
                        <m:d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𝑥</m:t>
                          </m:r>
                        </m:e>
                      </m:d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i="1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ctrlP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𝑥</m:t>
                                      </m:r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−0.4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2∙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0.</m:t>
                                      </m:r>
                                      <m:r>
                                        <a:rPr lang="de-DE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4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sup>
                      </m:sSup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+0.</m:t>
                      </m:r>
                      <m:r>
                        <a:rPr lang="de-DE" sz="1400" b="0" i="1" smtClean="0">
                          <a:latin typeface="Cambria Math"/>
                          <a:ea typeface="Cambria Math"/>
                        </a:rPr>
                        <m:t>1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𝑞𝑚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𝑞𝑚</m:t>
                      </m:r>
                      <m:r>
                        <a:rPr lang="en-US" sz="1400" b="0" i="1" smtClean="0">
                          <a:latin typeface="Cambria Math"/>
                        </a:rPr>
                        <m:t>=40 </m:t>
                      </m:r>
                      <m:r>
                        <a:rPr lang="en-US" sz="1400" b="0" i="1" smtClean="0">
                          <a:latin typeface="Cambria Math"/>
                        </a:rPr>
                        <m:t>𝑀𝑊</m:t>
                      </m:r>
                      <m:r>
                        <a:rPr lang="en-US" sz="1400" b="0" i="1" smtClean="0">
                          <a:latin typeface="Cambria Math"/>
                        </a:rPr>
                        <m:t>/</m:t>
                      </m:r>
                      <m:r>
                        <a:rPr lang="en-US" sz="1400" b="0" i="1" smtClean="0">
                          <a:latin typeface="Cambria Math"/>
                        </a:rPr>
                        <m:t>𝑚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𝑚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𝜇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4</m:t>
                      </m:r>
                    </m:oMath>
                  </m:oMathPara>
                </a14:m>
                <a:endParaRPr lang="en-US" sz="1400" b="0" dirty="0" smtClean="0">
                  <a:ea typeface="Cambria Math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/>
                          <a:ea typeface="Cambria Math"/>
                        </a:rPr>
                        <m:t>𝜎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0.</m:t>
                      </m:r>
                      <m:r>
                        <a:rPr lang="de-DE" sz="1400" b="0" i="1" smtClean="0">
                          <a:latin typeface="Cambria Math"/>
                          <a:ea typeface="Cambria Math"/>
                        </a:rPr>
                        <m:t>4</m:t>
                      </m:r>
                    </m:oMath>
                  </m:oMathPara>
                </a14:m>
                <a:endParaRPr lang="en-US" sz="1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/>
                            </a:rPr>
                            <m:t>𝐿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/>
                            </a:rPr>
                            <m:t>𝑥</m:t>
                          </m:r>
                        </m:sub>
                      </m:sSub>
                      <m:r>
                        <a:rPr lang="de-DE" sz="1400" b="0" i="1" smtClean="0">
                          <a:latin typeface="Cambria Math"/>
                        </a:rPr>
                        <m:t>=1.8 </m:t>
                      </m:r>
                      <m:r>
                        <a:rPr lang="de-DE" sz="1400" b="0" i="1" smtClean="0">
                          <a:latin typeface="Cambria Math"/>
                        </a:rPr>
                        <m:t>𝑚𝑚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20" name="Textfeld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2640" y="1519497"/>
                <a:ext cx="3672408" cy="1549463"/>
              </a:xfrm>
              <a:prstGeom prst="rect">
                <a:avLst/>
              </a:prstGeom>
              <a:blipFill rotWithShape="1">
                <a:blip r:embed="rId11"/>
                <a:stretch>
                  <a:fillRect t="-3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feld 26"/>
          <p:cNvSpPr txBox="1"/>
          <p:nvPr/>
        </p:nvSpPr>
        <p:spPr>
          <a:xfrm>
            <a:off x="776536" y="908720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Heat source </a:t>
            </a:r>
            <a:r>
              <a:rPr lang="en-US" sz="1600" dirty="0"/>
              <a:t>distribution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4543072" y="908720"/>
            <a:ext cx="500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Temperature distribution – Regression and simulation</a:t>
            </a:r>
            <a:endParaRPr lang="en-US" sz="1600" dirty="0"/>
          </a:p>
        </p:txBody>
      </p:sp>
      <p:pic>
        <p:nvPicPr>
          <p:cNvPr id="10272" name="Picture 32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053" y="1238224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9276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9" name="Objekt 1126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7237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" name="Gruppieren 37"/>
          <p:cNvGrpSpPr/>
          <p:nvPr/>
        </p:nvGrpSpPr>
        <p:grpSpPr>
          <a:xfrm>
            <a:off x="4520952" y="1240147"/>
            <a:ext cx="5324475" cy="3990975"/>
            <a:chOff x="4546985" y="1318526"/>
            <a:chExt cx="5324475" cy="3990975"/>
          </a:xfrm>
        </p:grpSpPr>
        <p:pic>
          <p:nvPicPr>
            <p:cNvPr id="39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985" y="1318526"/>
              <a:ext cx="5324475" cy="3990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0" name="Rechteck 11"/>
            <p:cNvSpPr/>
            <p:nvPr/>
          </p:nvSpPr>
          <p:spPr bwMode="auto">
            <a:xfrm>
              <a:off x="4546985" y="1318526"/>
              <a:ext cx="5324475" cy="3990975"/>
            </a:xfrm>
            <a:custGeom>
              <a:avLst/>
              <a:gdLst/>
              <a:ahLst/>
              <a:cxnLst/>
              <a:rect l="l" t="t" r="r" b="b"/>
              <a:pathLst>
                <a:path w="5324475" h="3990975">
                  <a:moveTo>
                    <a:pt x="4838491" y="407821"/>
                  </a:moveTo>
                  <a:lnTo>
                    <a:pt x="700935" y="734688"/>
                  </a:lnTo>
                  <a:cubicBezTo>
                    <a:pt x="699556" y="1679431"/>
                    <a:pt x="698176" y="2620035"/>
                    <a:pt x="696797" y="3560640"/>
                  </a:cubicBezTo>
                  <a:lnTo>
                    <a:pt x="3241394" y="3560640"/>
                  </a:lnTo>
                  <a:lnTo>
                    <a:pt x="4697814" y="2402124"/>
                  </a:lnTo>
                  <a:close/>
                  <a:moveTo>
                    <a:pt x="0" y="0"/>
                  </a:moveTo>
                  <a:lnTo>
                    <a:pt x="5324475" y="0"/>
                  </a:lnTo>
                  <a:lnTo>
                    <a:pt x="5324475" y="3990975"/>
                  </a:lnTo>
                  <a:lnTo>
                    <a:pt x="0" y="3990975"/>
                  </a:lnTo>
                  <a:close/>
                </a:path>
              </a:pathLst>
            </a:custGeom>
            <a:solidFill>
              <a:schemeClr val="bg1"/>
            </a:solidFill>
            <a:ln w="1079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sition 124 mm - </a:t>
            </a:r>
            <a:r>
              <a:rPr lang="en-US" dirty="0"/>
              <a:t>VP42</a:t>
            </a:r>
            <a:endParaRPr lang="de-DE" dirty="0"/>
          </a:p>
        </p:txBody>
      </p:sp>
      <p:pic>
        <p:nvPicPr>
          <p:cNvPr id="11282" name="Picture 18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0952" y="1240146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0387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ginal isothermal lines</a:t>
            </a:r>
            <a:endParaRPr lang="de-DE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1475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274538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124 mm position</a:t>
            </a:r>
            <a:endParaRPr lang="en-US" sz="1600" dirty="0"/>
          </a:p>
        </p:txBody>
      </p:sp>
      <p:sp>
        <p:nvSpPr>
          <p:cNvPr id="5" name="Textfeld 4"/>
          <p:cNvSpPr txBox="1"/>
          <p:nvPr/>
        </p:nvSpPr>
        <p:spPr>
          <a:xfrm>
            <a:off x="5022949" y="10663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Isothermal lines – 200 mm position</a:t>
            </a:r>
            <a:endParaRPr lang="en-US" sz="1600" dirty="0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936" y="1404938"/>
            <a:ext cx="5324475" cy="399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96167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ZL</Template>
  <TotalTime>0</TotalTime>
  <Words>475</Words>
  <Application>Microsoft Office PowerPoint</Application>
  <PresentationFormat>A4-Papier (210x297 mm)</PresentationFormat>
  <Paragraphs>66</Paragraphs>
  <Slides>13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5" baseType="lpstr">
      <vt:lpstr>wzl</vt:lpstr>
      <vt:lpstr>think-cell Folie</vt:lpstr>
      <vt:lpstr>Comparison VP41 (lc = 1.5 mm/hsp = 200µm/vc = 100m/min) Position 200 mm</vt:lpstr>
      <vt:lpstr>Position 124 mm - VP41</vt:lpstr>
      <vt:lpstr>Original isothermal lines</vt:lpstr>
      <vt:lpstr>Comparison VP45 (lc = 1.7 mm/hsp = 200µm/vc = 150m/min) Position 200 mm</vt:lpstr>
      <vt:lpstr>Position 124 mm - VP45</vt:lpstr>
      <vt:lpstr>Original isothermal lines</vt:lpstr>
      <vt:lpstr>Comparison VP42 (lc = 1.8 mm/hsp = 300µm/vc = 100m/min)</vt:lpstr>
      <vt:lpstr>Position 124 mm - VP42</vt:lpstr>
      <vt:lpstr>Original isothermal lines</vt:lpstr>
      <vt:lpstr>Comparison VP46 (lc = 2 mm/hsp = 300µm/vc = 150m/min)</vt:lpstr>
      <vt:lpstr>Position 124 mm - VP46</vt:lpstr>
      <vt:lpstr>Original isothermal lines</vt:lpstr>
      <vt:lpstr>Comparison among heat sources along the rake face</vt:lpstr>
    </vt:vector>
  </TitlesOfParts>
  <Manager/>
  <Company>WZL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arison Regression and simulation(CM)_20160708.pptx</dc:title>
  <dc:subject/>
  <dc:creator>Adriana Nunes Chaves Lima</dc:creator>
  <cp:keywords/>
  <dc:description/>
  <cp:lastModifiedBy>Adriana Nunes Chaves Lima</cp:lastModifiedBy>
  <cp:revision>111</cp:revision>
  <cp:lastPrinted>2016-06-09T13:05:58Z</cp:lastPrinted>
  <dcterms:created xsi:type="dcterms:W3CDTF">2016-05-30T11:40:41Z</dcterms:created>
  <dcterms:modified xsi:type="dcterms:W3CDTF">2016-07-08T08:12:54Z</dcterms:modified>
  <cp:category/>
</cp:coreProperties>
</file>